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sldIdLst>
    <p:sldId id="256" r:id="rId2"/>
    <p:sldId id="265" r:id="rId3"/>
    <p:sldId id="268" r:id="rId4"/>
    <p:sldId id="264" r:id="rId5"/>
    <p:sldId id="267" r:id="rId6"/>
    <p:sldId id="266" r:id="rId7"/>
    <p:sldId id="270" r:id="rId8"/>
    <p:sldId id="271" r:id="rId9"/>
    <p:sldId id="269" r:id="rId10"/>
    <p:sldId id="257" r:id="rId11"/>
    <p:sldId id="258" r:id="rId12"/>
    <p:sldId id="260" r:id="rId13"/>
    <p:sldId id="274" r:id="rId14"/>
    <p:sldId id="275" r:id="rId15"/>
    <p:sldId id="272" r:id="rId16"/>
    <p:sldId id="273" r:id="rId17"/>
    <p:sldId id="259" r:id="rId18"/>
    <p:sldId id="262" r:id="rId19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20"/>
    <p:restoredTop sz="94660"/>
  </p:normalViewPr>
  <p:slideViewPr>
    <p:cSldViewPr>
      <p:cViewPr>
        <p:scale>
          <a:sx n="71" d="100"/>
          <a:sy n="71" d="100"/>
        </p:scale>
        <p:origin x="-1344" y="1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6806E2-109F-4E5D-80CF-6963624B0E55}" type="datetimeFigureOut">
              <a:rPr lang="ru-RU" smtClean="0"/>
              <a:pPr/>
              <a:t>ср 08.02.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5B50BE-6942-422C-823F-8B81FE97AFA7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0638540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8855033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7753576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7753576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965772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13D533-D530-4E90-9B09-CBCE52F432BE}" type="datetimeFigureOut">
              <a:rPr lang="ru-RU" smtClean="0"/>
              <a:pPr/>
              <a:t>ср 08.02.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47EF0F-CF0E-452D-B2A4-552525C8E456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13D533-D530-4E90-9B09-CBCE52F432BE}" type="datetimeFigureOut">
              <a:rPr lang="ru-RU" smtClean="0"/>
              <a:pPr/>
              <a:t>ср 08.02.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47EF0F-CF0E-452D-B2A4-552525C8E456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13D533-D530-4E90-9B09-CBCE52F432BE}" type="datetimeFigureOut">
              <a:rPr lang="ru-RU" smtClean="0"/>
              <a:pPr/>
              <a:t>ср 08.02.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47EF0F-CF0E-452D-B2A4-552525C8E456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p:oleObj spid="_x0000_s20482" name="Слайд think-cell" r:id="rId4" imgW="360" imgH="360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250825" y="1147482"/>
            <a:ext cx="8640000" cy="4801798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8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8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8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8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8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6400169"/>
            <a:ext cx="864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0825" y="129440"/>
            <a:ext cx="863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1596454" y="-593614"/>
            <a:ext cx="45719" cy="324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1592999" y="-607987"/>
            <a:ext cx="54000" cy="324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6722023" y="6261423"/>
            <a:ext cx="2222010" cy="439567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3803903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13D533-D530-4E90-9B09-CBCE52F432BE}" type="datetimeFigureOut">
              <a:rPr lang="ru-RU" smtClean="0"/>
              <a:pPr/>
              <a:t>ср 08.02.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47EF0F-CF0E-452D-B2A4-552525C8E456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13D533-D530-4E90-9B09-CBCE52F432BE}" type="datetimeFigureOut">
              <a:rPr lang="ru-RU" smtClean="0"/>
              <a:pPr/>
              <a:t>ср 08.02.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47EF0F-CF0E-452D-B2A4-552525C8E456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13D533-D530-4E90-9B09-CBCE52F432BE}" type="datetimeFigureOut">
              <a:rPr lang="ru-RU" smtClean="0"/>
              <a:pPr/>
              <a:t>ср 08.02.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47EF0F-CF0E-452D-B2A4-552525C8E456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13D533-D530-4E90-9B09-CBCE52F432BE}" type="datetimeFigureOut">
              <a:rPr lang="ru-RU" smtClean="0"/>
              <a:pPr/>
              <a:t>ср 08.02.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47EF0F-CF0E-452D-B2A4-552525C8E456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13D533-D530-4E90-9B09-CBCE52F432BE}" type="datetimeFigureOut">
              <a:rPr lang="ru-RU" smtClean="0"/>
              <a:pPr/>
              <a:t>ср 08.02.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47EF0F-CF0E-452D-B2A4-552525C8E456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13D533-D530-4E90-9B09-CBCE52F432BE}" type="datetimeFigureOut">
              <a:rPr lang="ru-RU" smtClean="0"/>
              <a:pPr/>
              <a:t>ср 08.02.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47EF0F-CF0E-452D-B2A4-552525C8E456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13D533-D530-4E90-9B09-CBCE52F432BE}" type="datetimeFigureOut">
              <a:rPr lang="ru-RU" smtClean="0"/>
              <a:pPr/>
              <a:t>ср 08.02.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47EF0F-CF0E-452D-B2A4-552525C8E456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13D533-D530-4E90-9B09-CBCE52F432BE}" type="datetimeFigureOut">
              <a:rPr lang="ru-RU" smtClean="0"/>
              <a:pPr/>
              <a:t>ср 08.02.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47EF0F-CF0E-452D-B2A4-552525C8E456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13D533-D530-4E90-9B09-CBCE52F432BE}" type="datetimeFigureOut">
              <a:rPr lang="ru-RU" smtClean="0"/>
              <a:pPr/>
              <a:t>ср 08.02.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47EF0F-CF0E-452D-B2A4-552525C8E456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5.xml"/><Relationship Id="rId7" Type="http://schemas.openxmlformats.org/officeDocument/2006/relationships/image" Target="../media/image5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7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oleObject" Target="../embeddings/oleObject4.bin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jpe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oleObject" Target="../embeddings/oleObject5.bin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pn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oleObject" Target="../embeddings/oleObject6.bin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2.jpeg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Rectangle 1"/>
          <p:cNvSpPr>
            <a:spLocks noChangeArrowheads="1"/>
          </p:cNvSpPr>
          <p:nvPr/>
        </p:nvSpPr>
        <p:spPr bwMode="auto">
          <a:xfrm>
            <a:off x="500034" y="428604"/>
            <a:ext cx="8429684" cy="62786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ru-RU" sz="2800" b="1" dirty="0">
                <a:solidFill>
                  <a:srgbClr val="00206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Варианты организации образования детей с </a:t>
            </a:r>
            <a:r>
              <a:rPr lang="ru-RU" sz="2800" b="1" dirty="0" smtClean="0">
                <a:solidFill>
                  <a:srgbClr val="00206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РАС</a:t>
            </a: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342900" marR="0" indent="-3429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sz="2400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полная инклюзия в обычном классе общеобразовательной школы без </a:t>
            </a:r>
            <a:r>
              <a:rPr lang="ru-RU" sz="2400" dirty="0" err="1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тьюторского</a:t>
            </a:r>
            <a:r>
              <a:rPr lang="ru-RU" sz="2400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сопровождения; </a:t>
            </a:r>
          </a:p>
          <a:p>
            <a:pPr marL="342900" marR="0" indent="-3429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sz="2400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полная инклюзия в обычном классе общеобразовательной школы с </a:t>
            </a:r>
            <a:r>
              <a:rPr lang="ru-RU" sz="2400" dirty="0" err="1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тьюторской</a:t>
            </a:r>
            <a:r>
              <a:rPr lang="ru-RU" sz="2400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поддержкой; </a:t>
            </a:r>
          </a:p>
          <a:p>
            <a:pPr marL="342900" marR="0" indent="-3429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sz="2400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частичная инклюзия (часть времени учащийся обучается в обычном классе, а часть времени – в специализированном); </a:t>
            </a:r>
          </a:p>
          <a:p>
            <a:pPr marR="0" indent="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B0F0"/>
              </a:buClr>
              <a:buSzTx/>
              <a:tabLst/>
            </a:pPr>
            <a:endParaRPr lang="ru-RU" sz="2800" dirty="0">
              <a:latin typeface="+mj-lt"/>
              <a:ea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28596" y="285728"/>
            <a:ext cx="8358246" cy="60170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B0F0"/>
              </a:buClr>
            </a:pP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  <a:p>
            <a:pPr marL="342900" lvl="0" indent="-3429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sz="2400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специализированные классы для </a:t>
            </a:r>
            <a:r>
              <a:rPr lang="ru-RU" sz="2400" dirty="0" err="1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аутичных</a:t>
            </a:r>
            <a:r>
              <a:rPr lang="ru-RU" sz="2400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детей </a:t>
            </a:r>
          </a:p>
          <a:p>
            <a:pPr marL="342900" lvl="0" indent="-3429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sz="2400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специализированные школы для </a:t>
            </a:r>
            <a:r>
              <a:rPr lang="ru-RU" sz="2400" dirty="0" err="1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аутичных</a:t>
            </a:r>
            <a:r>
              <a:rPr lang="ru-RU" sz="2400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детей; </a:t>
            </a:r>
          </a:p>
          <a:p>
            <a:pPr marL="342900" lvl="0" indent="-3429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sz="2400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обучение по индивидуальному учебному плану, надомное обучение по заключению медицинской комиссии (с том числе с использованием дистанционных технологий).</a:t>
            </a:r>
          </a:p>
          <a:p>
            <a:pPr marL="342900" indent="-3429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sz="2400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специализированные классы для детей с различными нарушениями (в обычных или коррекционных школах);</a:t>
            </a: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ru-RU" sz="2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</a:t>
            </a:r>
            <a:endParaRPr kumimoji="0" lang="ru-RU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lvl="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B0F0"/>
              </a:buClr>
              <a:buFont typeface="Wingdings" pitchFamily="2" charset="2"/>
              <a:buChar char="Ø"/>
            </a:pPr>
            <a:endParaRPr kumimoji="0" lang="ru-RU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1"/>
          <p:cNvSpPr>
            <a:spLocks noChangeArrowheads="1"/>
          </p:cNvSpPr>
          <p:nvPr/>
        </p:nvSpPr>
        <p:spPr bwMode="auto">
          <a:xfrm>
            <a:off x="357158" y="1714488"/>
            <a:ext cx="8501090" cy="46519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342900" marR="0" lvl="0" indent="-3429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B0F0"/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sz="2000" dirty="0" smtClean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принцип </a:t>
            </a:r>
            <a:r>
              <a:rPr lang="ru-RU" sz="2000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«обратной интеграции» (</a:t>
            </a:r>
            <a:r>
              <a:rPr lang="ru-RU" sz="2000" dirty="0" err="1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Т.Питерс</a:t>
            </a:r>
            <a:r>
              <a:rPr lang="ru-RU" sz="2000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): на первых этапах обучения ребенку с нарушениями предлагается среда и виды деятельности, наилучшим образом адаптированные к его способностям и возможностям; </a:t>
            </a:r>
          </a:p>
          <a:p>
            <a:pPr marL="342900" marR="0" lvl="0" indent="-3429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B0F0"/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sz="2000" dirty="0" smtClean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образовательный </a:t>
            </a:r>
            <a:r>
              <a:rPr lang="ru-RU" sz="2000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маршрут строится с учетом динамической оценки возможностей ребенка при включении в социальную группу; </a:t>
            </a:r>
          </a:p>
          <a:p>
            <a:pPr marL="342900" marR="0" lvl="0" indent="-3429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B0F0"/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sz="2000" dirty="0" smtClean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ru-RU" sz="2000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организация обучения с учетом всех блоков особых образовательных потребностей учащегося с РАС; </a:t>
            </a:r>
          </a:p>
          <a:p>
            <a:pPr marL="342900" marR="0" lvl="0" indent="-3429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B0F0"/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sz="2000" dirty="0" smtClean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ru-RU" sz="2000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согласованная работа команды специалистов и родителей ребенка с РАС.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857224" y="357166"/>
            <a:ext cx="792961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800" b="1" dirty="0">
                <a:solidFill>
                  <a:srgbClr val="00206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На что мы можем опираться при организации обучения детей с РАС? 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1" name="Rectangle 1"/>
          <p:cNvSpPr>
            <a:spLocks noChangeArrowheads="1"/>
          </p:cNvSpPr>
          <p:nvPr/>
        </p:nvSpPr>
        <p:spPr bwMode="auto">
          <a:xfrm>
            <a:off x="214282" y="1714488"/>
            <a:ext cx="7786742" cy="3785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B0F0"/>
              </a:buClr>
              <a:buSzTx/>
              <a:buFont typeface="Wingdings" pitchFamily="2" charset="2"/>
              <a:buChar char="Ø"/>
              <a:tabLst/>
            </a:pPr>
            <a:r>
              <a:rPr lang="ru-RU" sz="2000" dirty="0" smtClean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1 </a:t>
            </a:r>
            <a:r>
              <a:rPr lang="ru-RU" sz="2000" dirty="0" smtClean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блок – потребности, связанные с введением учащегося с РАС в ситуацию обучения; </a:t>
            </a:r>
          </a:p>
          <a:p>
            <a:pPr marL="0" marR="0" lvl="0" indent="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B0F0"/>
              </a:buClr>
              <a:buSzTx/>
              <a:buFont typeface="Wingdings" pitchFamily="2" charset="2"/>
              <a:buChar char="Ø"/>
              <a:tabLst/>
            </a:pPr>
            <a:r>
              <a:rPr lang="ru-RU" sz="2000" dirty="0" smtClean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2 </a:t>
            </a:r>
            <a:r>
              <a:rPr lang="ru-RU" sz="2000" dirty="0" smtClean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блок - потребности, связанные с освоением адаптированной образовательной программы; </a:t>
            </a:r>
          </a:p>
          <a:p>
            <a:pPr marL="0" marR="0" lvl="0" indent="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B0F0"/>
              </a:buClr>
              <a:buSzTx/>
              <a:buFont typeface="Wingdings" pitchFamily="2" charset="2"/>
              <a:buChar char="Ø"/>
              <a:tabLst/>
            </a:pPr>
            <a:r>
              <a:rPr lang="ru-RU" sz="2000" dirty="0" smtClean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3 </a:t>
            </a:r>
            <a:r>
              <a:rPr lang="ru-RU" sz="2000" dirty="0" smtClean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блок - особые образовательные потребности, удовлетворение которых необходимо для коррекции и развития </a:t>
            </a:r>
            <a:r>
              <a:rPr lang="ru-RU" sz="2000" dirty="0" err="1" smtClean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эмоциональноволевой</a:t>
            </a:r>
            <a:r>
              <a:rPr lang="ru-RU" sz="2000" dirty="0" smtClean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сферы ребенка с </a:t>
            </a:r>
            <a:r>
              <a:rPr lang="ru-RU" sz="2000" dirty="0" smtClean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РАС.</a:t>
            </a:r>
          </a:p>
          <a:p>
            <a:pPr marL="0" marR="0" lvl="0" indent="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B0F0"/>
              </a:buClr>
              <a:buSzTx/>
              <a:buFont typeface="Wingdings" pitchFamily="2" charset="2"/>
              <a:buChar char="Ø"/>
              <a:tabLst/>
            </a:pPr>
            <a:endParaRPr lang="ru-RU" sz="2000" dirty="0" smtClean="0">
              <a:latin typeface="Cambria" panose="02040503050406030204" pitchFamily="18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857224" y="214290"/>
            <a:ext cx="771530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fontAlgn="base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2800" b="1" dirty="0" smtClean="0">
                <a:solidFill>
                  <a:srgbClr val="00206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Особые образовательные потребности, возникающие при обучении детей с РАС в школе 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5" name="Rectangle 1"/>
          <p:cNvSpPr>
            <a:spLocks noChangeArrowheads="1"/>
          </p:cNvSpPr>
          <p:nvPr/>
        </p:nvSpPr>
        <p:spPr bwMode="auto">
          <a:xfrm>
            <a:off x="-214346" y="285728"/>
            <a:ext cx="8445726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4"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2800" b="1" dirty="0" smtClean="0">
                <a:solidFill>
                  <a:srgbClr val="00206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Организация образовательной среды </a:t>
            </a:r>
          </a:p>
        </p:txBody>
      </p:sp>
      <p:sp>
        <p:nvSpPr>
          <p:cNvPr id="57346" name="Rectangle 2"/>
          <p:cNvSpPr>
            <a:spLocks noChangeArrowheads="1"/>
          </p:cNvSpPr>
          <p:nvPr/>
        </p:nvSpPr>
        <p:spPr bwMode="auto">
          <a:xfrm>
            <a:off x="428597" y="1214422"/>
            <a:ext cx="5143535" cy="332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B0F0"/>
              </a:buClr>
              <a:buFont typeface="Wingdings" pitchFamily="2" charset="2"/>
              <a:buChar char="Ø"/>
            </a:pPr>
            <a:r>
              <a:rPr lang="ru-RU" sz="2000" dirty="0" smtClean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организация пространства для обучения детей с РАС;</a:t>
            </a:r>
          </a:p>
          <a:p>
            <a:pPr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B0F0"/>
              </a:buClr>
              <a:buFont typeface="Wingdings" pitchFamily="2" charset="2"/>
              <a:buChar char="Ø"/>
            </a:pPr>
            <a:r>
              <a:rPr lang="ru-RU" sz="2000" dirty="0" smtClean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организация режима дня;</a:t>
            </a:r>
          </a:p>
          <a:p>
            <a:pPr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B0F0"/>
              </a:buClr>
              <a:buFont typeface="Wingdings" pitchFamily="2" charset="2"/>
              <a:buChar char="Ø"/>
            </a:pPr>
            <a:r>
              <a:rPr lang="ru-RU" sz="2000" dirty="0" smtClean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организация рабочего места;</a:t>
            </a:r>
          </a:p>
          <a:p>
            <a:pPr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B0F0"/>
              </a:buClr>
              <a:buFont typeface="Wingdings" pitchFamily="2" charset="2"/>
              <a:buChar char="Ø"/>
            </a:pPr>
            <a:r>
              <a:rPr lang="ru-RU" sz="2000" dirty="0" smtClean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специальные дидактические материалы, отвечающие потребностям детей с РАС. </a:t>
            </a:r>
          </a:p>
          <a:p>
            <a:pPr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B0F0"/>
              </a:buClr>
              <a:buFont typeface="Wingdings" pitchFamily="2" charset="2"/>
              <a:buChar char="Ø"/>
            </a:pPr>
            <a:r>
              <a:rPr lang="ru-RU" sz="2000" dirty="0" smtClean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технические средства обучения;</a:t>
            </a:r>
          </a:p>
        </p:txBody>
      </p:sp>
      <p:pic>
        <p:nvPicPr>
          <p:cNvPr id="4" name="Рисунок 3" descr="pagephotos_5337_63c1285709dea8e3a9a667c2f1b132381fdf7aae15581.jpg"/>
          <p:cNvPicPr>
            <a:picLocks noChangeAspect="1"/>
          </p:cNvPicPr>
          <p:nvPr/>
        </p:nvPicPr>
        <p:blipFill>
          <a:blip r:embed="rId2"/>
          <a:srcRect l="25000" r="13636"/>
          <a:stretch>
            <a:fillRect/>
          </a:stretch>
        </p:blipFill>
        <p:spPr>
          <a:xfrm>
            <a:off x="5286348" y="1714488"/>
            <a:ext cx="3857652" cy="4714908"/>
          </a:xfrm>
          <a:prstGeom prst="flowChartManualOperation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2"/>
          <p:cNvSpPr txBox="1">
            <a:spLocks/>
          </p:cNvSpPr>
          <p:nvPr/>
        </p:nvSpPr>
        <p:spPr>
          <a:xfrm>
            <a:off x="250825" y="129440"/>
            <a:ext cx="8640000" cy="648642"/>
          </a:xfrm>
          <a:prstGeom prst="rect">
            <a:avLst/>
          </a:prstGeom>
        </p:spPr>
        <p:txBody>
          <a:bodyPr lIns="51206" tIns="25603" rIns="51206" bIns="25603"/>
          <a:lstStyle/>
          <a:p>
            <a:pPr algn="ctr" defTabSz="512064">
              <a:buClr>
                <a:srgbClr val="000000"/>
              </a:buClr>
              <a:defRPr/>
            </a:pPr>
            <a:r>
              <a:rPr lang="ru-RU" sz="2800" b="1" dirty="0">
                <a:solidFill>
                  <a:srgbClr val="00206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А</a:t>
            </a:r>
            <a:r>
              <a:rPr lang="ru-RU" sz="2800" b="1" dirty="0">
                <a:solidFill>
                  <a:srgbClr val="00206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Д</a:t>
            </a:r>
            <a:r>
              <a:rPr lang="ru-RU" sz="2800" b="1" dirty="0">
                <a:solidFill>
                  <a:srgbClr val="00206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АПТАЦИЯ МАТЕРИАЛА</a:t>
            </a:r>
            <a:r>
              <a:rPr lang="ru-RU" sz="4000" b="1" dirty="0">
                <a:latin typeface="Exo 2"/>
                <a:ea typeface="Exo 2"/>
                <a:cs typeface="Exo 2"/>
              </a:rPr>
              <a:t/>
            </a:r>
            <a:br>
              <a:rPr lang="ru-RU" sz="4000" b="1" dirty="0">
                <a:latin typeface="Exo 2"/>
                <a:ea typeface="Exo 2"/>
                <a:cs typeface="Exo 2"/>
              </a:rPr>
            </a:br>
            <a:r>
              <a:rPr lang="ru-RU" sz="8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/>
            </a:r>
            <a:br>
              <a:rPr lang="ru-RU" sz="8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ru-RU" sz="8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/>
            </a:r>
            <a:br>
              <a:rPr lang="ru-RU" sz="8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ru-RU" i="1" dirty="0">
                <a:solidFill>
                  <a:srgbClr val="002060"/>
                </a:solidFill>
                <a:latin typeface="Exo 2"/>
                <a:ea typeface="Exo 2"/>
                <a:cs typeface="Exo 2"/>
              </a:rPr>
              <a:t>Для успешности в освоении академических навыков, многим ученикам с РАС необходима адаптация учебного материала.</a:t>
            </a:r>
            <a:br>
              <a:rPr lang="ru-RU" i="1" dirty="0">
                <a:solidFill>
                  <a:srgbClr val="002060"/>
                </a:solidFill>
                <a:latin typeface="Exo 2"/>
                <a:ea typeface="Exo 2"/>
                <a:cs typeface="Exo 2"/>
              </a:rPr>
            </a:br>
            <a:endParaRPr lang="ru-RU" i="1" dirty="0">
              <a:solidFill>
                <a:srgbClr val="002060"/>
              </a:solidFill>
              <a:latin typeface="Exo 2"/>
              <a:ea typeface="Exo 2"/>
              <a:cs typeface="Exo 2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42910" y="2000240"/>
            <a:ext cx="7145867" cy="3350764"/>
          </a:xfrm>
          <a:prstGeom prst="rect">
            <a:avLst/>
          </a:prstGeom>
        </p:spPr>
        <p:txBody>
          <a:bodyPr wrap="square" lIns="76810" tIns="38405" rIns="76810" bIns="38405">
            <a:spAutoFit/>
          </a:bodyPr>
          <a:lstStyle/>
          <a:p>
            <a:pPr>
              <a:lnSpc>
                <a:spcPct val="115000"/>
              </a:lnSpc>
              <a:spcBef>
                <a:spcPts val="840"/>
              </a:spcBef>
              <a:buClr>
                <a:schemeClr val="accent1">
                  <a:lumMod val="75000"/>
                </a:schemeClr>
              </a:buClr>
              <a:buSzPct val="72000"/>
              <a:tabLst>
                <a:tab pos="384048" algn="l"/>
              </a:tabLst>
            </a:pPr>
            <a:endParaRPr lang="ru-RU" dirty="0" smtClean="0">
              <a:solidFill>
                <a:schemeClr val="accent1">
                  <a:lumMod val="50000"/>
                </a:schemeClr>
              </a:solidFill>
              <a:latin typeface="Cambria" panose="02040503050406030204" pitchFamily="18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88036" indent="-288036">
              <a:lnSpc>
                <a:spcPct val="150000"/>
              </a:lnSpc>
              <a:spcBef>
                <a:spcPts val="560"/>
              </a:spcBef>
              <a:buClr>
                <a:srgbClr val="F32954"/>
              </a:buClr>
              <a:buSzPct val="72000"/>
              <a:buFont typeface="Wingdings" panose="05000000000000000000" pitchFamily="2" charset="2"/>
              <a:buChar char="Ø"/>
              <a:tabLst>
                <a:tab pos="384048" algn="l"/>
              </a:tabLst>
            </a:pPr>
            <a:r>
              <a:rPr lang="ru-RU" dirty="0">
                <a:latin typeface="Exo 2"/>
                <a:ea typeface="Exo 2"/>
                <a:cs typeface="Exo 2"/>
                <a:sym typeface="Exo 2"/>
              </a:rPr>
              <a:t>Учет ЗБР (зоны ближайшего развития)  </a:t>
            </a:r>
          </a:p>
          <a:p>
            <a:pPr marL="288036" indent="-288036">
              <a:lnSpc>
                <a:spcPct val="150000"/>
              </a:lnSpc>
              <a:spcBef>
                <a:spcPts val="560"/>
              </a:spcBef>
              <a:buClr>
                <a:srgbClr val="F32954"/>
              </a:buClr>
              <a:buSzPct val="72000"/>
              <a:buFont typeface="Wingdings" panose="05000000000000000000" pitchFamily="2" charset="2"/>
              <a:buChar char="Ø"/>
              <a:tabLst>
                <a:tab pos="384048" algn="l"/>
              </a:tabLst>
            </a:pPr>
            <a:r>
              <a:rPr lang="ru-RU" dirty="0" err="1">
                <a:latin typeface="Exo 2"/>
                <a:ea typeface="Exo 2"/>
                <a:cs typeface="Exo 2"/>
                <a:sym typeface="Exo 2"/>
              </a:rPr>
              <a:t>Max</a:t>
            </a:r>
            <a:r>
              <a:rPr lang="ru-RU" dirty="0">
                <a:latin typeface="Exo 2"/>
                <a:ea typeface="Exo 2"/>
                <a:cs typeface="Exo 2"/>
                <a:sym typeface="Exo 2"/>
              </a:rPr>
              <a:t> визуальной информации, </a:t>
            </a:r>
            <a:r>
              <a:rPr lang="ru-RU" dirty="0" err="1">
                <a:latin typeface="Exo 2"/>
                <a:ea typeface="Exo 2"/>
                <a:cs typeface="Exo 2"/>
                <a:sym typeface="Exo 2"/>
              </a:rPr>
              <a:t>min</a:t>
            </a:r>
            <a:r>
              <a:rPr lang="ru-RU" dirty="0">
                <a:latin typeface="Exo 2"/>
                <a:ea typeface="Exo 2"/>
                <a:cs typeface="Exo 2"/>
                <a:sym typeface="Exo 2"/>
              </a:rPr>
              <a:t> «на слух»  </a:t>
            </a:r>
          </a:p>
          <a:p>
            <a:pPr marL="288036" indent="-288036">
              <a:lnSpc>
                <a:spcPct val="150000"/>
              </a:lnSpc>
              <a:spcBef>
                <a:spcPts val="560"/>
              </a:spcBef>
              <a:buClr>
                <a:srgbClr val="F32954"/>
              </a:buClr>
              <a:buSzPct val="72000"/>
              <a:buFont typeface="Wingdings" panose="05000000000000000000" pitchFamily="2" charset="2"/>
              <a:buChar char="Ø"/>
              <a:tabLst>
                <a:tab pos="384048" algn="l"/>
              </a:tabLst>
            </a:pPr>
            <a:r>
              <a:rPr lang="ru-RU" dirty="0" err="1">
                <a:latin typeface="Exo 2"/>
                <a:ea typeface="Exo 2"/>
                <a:cs typeface="Exo 2"/>
                <a:sym typeface="Exo 2"/>
              </a:rPr>
              <a:t>Max</a:t>
            </a:r>
            <a:r>
              <a:rPr lang="ru-RU" dirty="0">
                <a:latin typeface="Exo 2"/>
                <a:ea typeface="Exo 2"/>
                <a:cs typeface="Exo 2"/>
                <a:sym typeface="Exo 2"/>
              </a:rPr>
              <a:t> упрощение фраз, текстов </a:t>
            </a:r>
          </a:p>
          <a:p>
            <a:pPr marL="288036" indent="-288036">
              <a:lnSpc>
                <a:spcPct val="150000"/>
              </a:lnSpc>
              <a:spcBef>
                <a:spcPts val="560"/>
              </a:spcBef>
              <a:buClr>
                <a:srgbClr val="F32954"/>
              </a:buClr>
              <a:buSzPct val="72000"/>
              <a:buFont typeface="Wingdings" panose="05000000000000000000" pitchFamily="2" charset="2"/>
              <a:buChar char="Ø"/>
              <a:tabLst>
                <a:tab pos="384048" algn="l"/>
              </a:tabLst>
            </a:pPr>
            <a:r>
              <a:rPr lang="ru-RU" dirty="0">
                <a:latin typeface="Exo 2"/>
                <a:ea typeface="Exo 2"/>
                <a:cs typeface="Exo 2"/>
                <a:sym typeface="Exo 2"/>
              </a:rPr>
              <a:t>Исключить сарказм, аллегории, крылатые выражения </a:t>
            </a:r>
          </a:p>
          <a:p>
            <a:pPr marL="288036" indent="-288036">
              <a:lnSpc>
                <a:spcPct val="150000"/>
              </a:lnSpc>
              <a:spcBef>
                <a:spcPts val="560"/>
              </a:spcBef>
              <a:buClr>
                <a:srgbClr val="F32954"/>
              </a:buClr>
              <a:buSzPct val="72000"/>
              <a:buFont typeface="Wingdings" panose="05000000000000000000" pitchFamily="2" charset="2"/>
              <a:buChar char="Ø"/>
              <a:tabLst>
                <a:tab pos="384048" algn="l"/>
              </a:tabLst>
            </a:pPr>
            <a:r>
              <a:rPr lang="ru-RU" dirty="0">
                <a:latin typeface="Exo 2"/>
                <a:ea typeface="Exo 2"/>
                <a:cs typeface="Exo 2"/>
                <a:sym typeface="Exo 2"/>
              </a:rPr>
              <a:t>Структурировать абстрактное в схемы/ таблицы </a:t>
            </a:r>
          </a:p>
          <a:p>
            <a:pPr marL="288036" indent="-288036">
              <a:lnSpc>
                <a:spcPct val="150000"/>
              </a:lnSpc>
              <a:spcBef>
                <a:spcPts val="560"/>
              </a:spcBef>
              <a:buClr>
                <a:srgbClr val="F32954"/>
              </a:buClr>
              <a:buSzPct val="72000"/>
              <a:buFont typeface="Wingdings" panose="05000000000000000000" pitchFamily="2" charset="2"/>
              <a:buChar char="Ø"/>
              <a:tabLst>
                <a:tab pos="384048" algn="l"/>
              </a:tabLst>
            </a:pPr>
            <a:r>
              <a:rPr lang="ru-RU" dirty="0">
                <a:latin typeface="Exo 2"/>
                <a:ea typeface="Exo 2"/>
                <a:cs typeface="Exo 2"/>
                <a:sym typeface="Exo 2"/>
              </a:rPr>
              <a:t>Учет специфических интересов ученика!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2"/>
          <p:cNvSpPr txBox="1">
            <a:spLocks/>
          </p:cNvSpPr>
          <p:nvPr/>
        </p:nvSpPr>
        <p:spPr>
          <a:xfrm>
            <a:off x="250825" y="129440"/>
            <a:ext cx="8640000" cy="648642"/>
          </a:xfrm>
          <a:prstGeom prst="rect">
            <a:avLst/>
          </a:prstGeom>
        </p:spPr>
        <p:txBody>
          <a:bodyPr lIns="51206" tIns="25603" rIns="51206" bIns="25603"/>
          <a:lstStyle/>
          <a:p>
            <a:pPr algn="ctr" defTabSz="512064">
              <a:buClr>
                <a:srgbClr val="000000"/>
              </a:buClr>
              <a:defRPr/>
            </a:pPr>
            <a:r>
              <a:rPr lang="ru-RU" sz="2800" b="1" dirty="0">
                <a:solidFill>
                  <a:srgbClr val="00206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ЧЕТКОСТЬ И ПОСТОЯНСТВО </a:t>
            </a:r>
            <a:r>
              <a:rPr lang="ru-RU" sz="4000" b="1" dirty="0">
                <a:latin typeface="Exo 2"/>
                <a:ea typeface="Exo 2"/>
                <a:cs typeface="Exo 2"/>
              </a:rPr>
              <a:t/>
            </a:r>
            <a:br>
              <a:rPr lang="ru-RU" sz="4000" b="1" dirty="0">
                <a:latin typeface="Exo 2"/>
                <a:ea typeface="Exo 2"/>
                <a:cs typeface="Exo 2"/>
              </a:rPr>
            </a:br>
            <a:r>
              <a:rPr lang="ru-RU" sz="8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/>
            </a:r>
            <a:br>
              <a:rPr lang="ru-RU" sz="8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ru-RU" sz="8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/>
            </a:r>
            <a:br>
              <a:rPr lang="ru-RU" sz="8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ru-RU" i="1" dirty="0">
                <a:solidFill>
                  <a:srgbClr val="002060"/>
                </a:solidFill>
                <a:latin typeface="Exo 2"/>
                <a:ea typeface="Exo 2"/>
                <a:cs typeface="Exo 2"/>
              </a:rPr>
              <a:t>Для повышения успешности ученика с РАС важно максимально точно определить требования к нему</a:t>
            </a:r>
            <a:br>
              <a:rPr lang="ru-RU" i="1" dirty="0">
                <a:solidFill>
                  <a:srgbClr val="002060"/>
                </a:solidFill>
                <a:latin typeface="Exo 2"/>
                <a:ea typeface="Exo 2"/>
                <a:cs typeface="Exo 2"/>
              </a:rPr>
            </a:br>
            <a:endParaRPr lang="ru-RU" i="1" dirty="0">
              <a:solidFill>
                <a:srgbClr val="002060"/>
              </a:solidFill>
              <a:latin typeface="Exo 2"/>
              <a:ea typeface="Exo 2"/>
              <a:cs typeface="Exo 2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28596" y="2357430"/>
            <a:ext cx="7145867" cy="3760620"/>
          </a:xfrm>
          <a:prstGeom prst="rect">
            <a:avLst/>
          </a:prstGeom>
        </p:spPr>
        <p:txBody>
          <a:bodyPr wrap="square" lIns="76810" tIns="38405" rIns="76810" bIns="38405">
            <a:spAutoFit/>
          </a:bodyPr>
          <a:lstStyle/>
          <a:p>
            <a:pPr marL="288036" indent="-288036">
              <a:lnSpc>
                <a:spcPct val="150000"/>
              </a:lnSpc>
              <a:spcBef>
                <a:spcPts val="560"/>
              </a:spcBef>
              <a:buClr>
                <a:srgbClr val="F32954"/>
              </a:buClr>
              <a:buSzPct val="72000"/>
              <a:buFont typeface="Wingdings" panose="05000000000000000000" pitchFamily="2" charset="2"/>
              <a:buChar char="Ø"/>
              <a:tabLst>
                <a:tab pos="384048" algn="l"/>
              </a:tabLst>
            </a:pPr>
            <a:r>
              <a:rPr lang="ru-RU" dirty="0">
                <a:latin typeface="Exo 2"/>
                <a:ea typeface="Exo 2"/>
                <a:cs typeface="Exo 2"/>
                <a:sym typeface="Exo 2"/>
              </a:rPr>
              <a:t>Для повышения успешности ученика с РАС важно максимально точно определить требования к нему. </a:t>
            </a:r>
          </a:p>
          <a:p>
            <a:pPr marL="288036" indent="-288036">
              <a:lnSpc>
                <a:spcPct val="150000"/>
              </a:lnSpc>
              <a:spcBef>
                <a:spcPts val="560"/>
              </a:spcBef>
              <a:buClr>
                <a:srgbClr val="F32954"/>
              </a:buClr>
              <a:buSzPct val="72000"/>
              <a:buFont typeface="Wingdings" panose="05000000000000000000" pitchFamily="2" charset="2"/>
              <a:buChar char="Ø"/>
              <a:tabLst>
                <a:tab pos="384048" algn="l"/>
              </a:tabLst>
            </a:pPr>
            <a:r>
              <a:rPr lang="ru-RU" dirty="0">
                <a:latin typeface="Exo 2"/>
                <a:ea typeface="Exo 2"/>
                <a:cs typeface="Exo 2"/>
                <a:sym typeface="Exo 2"/>
              </a:rPr>
              <a:t>Все задания сформулированы предельно четко - для новых навыков  </a:t>
            </a:r>
          </a:p>
          <a:p>
            <a:pPr marL="288036" indent="-288036">
              <a:lnSpc>
                <a:spcPct val="150000"/>
              </a:lnSpc>
              <a:spcBef>
                <a:spcPts val="560"/>
              </a:spcBef>
              <a:buClr>
                <a:srgbClr val="F32954"/>
              </a:buClr>
              <a:buSzPct val="72000"/>
              <a:buFont typeface="Wingdings" panose="05000000000000000000" pitchFamily="2" charset="2"/>
              <a:buChar char="Ø"/>
              <a:tabLst>
                <a:tab pos="384048" algn="l"/>
              </a:tabLst>
            </a:pPr>
            <a:r>
              <a:rPr lang="ru-RU" dirty="0">
                <a:latin typeface="Exo 2"/>
                <a:ea typeface="Exo 2"/>
                <a:cs typeface="Exo 2"/>
                <a:sym typeface="Exo 2"/>
              </a:rPr>
              <a:t>Постепенно формулировки приводятся к «обычным»</a:t>
            </a:r>
          </a:p>
          <a:p>
            <a:pPr marL="288036" indent="-288036">
              <a:lnSpc>
                <a:spcPct val="150000"/>
              </a:lnSpc>
              <a:spcBef>
                <a:spcPts val="560"/>
              </a:spcBef>
              <a:buClr>
                <a:srgbClr val="F32954"/>
              </a:buClr>
              <a:buSzPct val="72000"/>
              <a:buFont typeface="Wingdings" panose="05000000000000000000" pitchFamily="2" charset="2"/>
              <a:buChar char="Ø"/>
              <a:tabLst>
                <a:tab pos="384048" algn="l"/>
              </a:tabLst>
            </a:pPr>
            <a:r>
              <a:rPr lang="ru-RU" dirty="0">
                <a:latin typeface="Exo 2"/>
                <a:ea typeface="Exo 2"/>
                <a:cs typeface="Exo 2"/>
                <a:sym typeface="Exo 2"/>
              </a:rPr>
              <a:t>Требования к оформлению оговорены и не меняются</a:t>
            </a:r>
          </a:p>
          <a:p>
            <a:pPr marL="288036" indent="-288036">
              <a:lnSpc>
                <a:spcPct val="150000"/>
              </a:lnSpc>
              <a:spcBef>
                <a:spcPts val="560"/>
              </a:spcBef>
              <a:buClr>
                <a:srgbClr val="F32954"/>
              </a:buClr>
              <a:buSzPct val="72000"/>
              <a:buFont typeface="Wingdings" panose="05000000000000000000" pitchFamily="2" charset="2"/>
              <a:buChar char="Ø"/>
              <a:tabLst>
                <a:tab pos="384048" algn="l"/>
              </a:tabLst>
            </a:pPr>
            <a:r>
              <a:rPr lang="ru-RU" dirty="0">
                <a:latin typeface="Exo 2"/>
                <a:ea typeface="Exo 2"/>
                <a:cs typeface="Exo 2"/>
                <a:sym typeface="Exo 2"/>
              </a:rPr>
              <a:t>Рабочие материалы (книги, бумага, канцтовары) имеют свои места</a:t>
            </a:r>
          </a:p>
        </p:txBody>
      </p:sp>
      <p:pic>
        <p:nvPicPr>
          <p:cNvPr id="4" name="Google Shape;343;p18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 rot="1480185">
            <a:off x="7020024" y="3284145"/>
            <a:ext cx="1404050" cy="176794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Без названия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8992" y="2928934"/>
            <a:ext cx="5556288" cy="3571900"/>
          </a:xfrm>
          <a:prstGeom prst="rect">
            <a:avLst/>
          </a:prstGeom>
        </p:spPr>
      </p:pic>
      <p:sp>
        <p:nvSpPr>
          <p:cNvPr id="16385" name="Rectangle 1"/>
          <p:cNvSpPr>
            <a:spLocks noChangeArrowheads="1"/>
          </p:cNvSpPr>
          <p:nvPr/>
        </p:nvSpPr>
        <p:spPr bwMode="auto">
          <a:xfrm>
            <a:off x="214282" y="785794"/>
            <a:ext cx="6643734" cy="5601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just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2800" dirty="0">
              <a:latin typeface="+mj-lt"/>
              <a:ea typeface="Times New Roman" pitchFamily="18" charset="0"/>
              <a:cs typeface="Times New Roman" pitchFamily="18" charset="0"/>
            </a:endParaRPr>
          </a:p>
          <a:p>
            <a:pPr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800" dirty="0">
                <a:latin typeface="+mj-lt"/>
                <a:ea typeface="Times New Roman" pitchFamily="18" charset="0"/>
                <a:cs typeface="Times New Roman" pitchFamily="18" charset="0"/>
              </a:rPr>
              <a:t> </a:t>
            </a:r>
            <a:r>
              <a:rPr lang="ru-RU" sz="2400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1. Результативным является сопровождение, основанное на принципах прикладного анализа поведения. </a:t>
            </a:r>
          </a:p>
          <a:p>
            <a:pPr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400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2. Наиболее эффективным для обучения людей с РАС является использование зрительного канала. </a:t>
            </a:r>
          </a:p>
          <a:p>
            <a:pPr marL="0" marR="0" lvl="0" indent="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2400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3. Дети с РАС достаточно успешны в среде, структурированной соответствующим образом. 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 descr="img-W7HhGX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29322" y="1928802"/>
            <a:ext cx="2990850" cy="3400425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p:oleObj spid="_x0000_s21506" name="Слайд think-cell" r:id="rId7" imgW="360" imgH="360" progId="">
              <p:embed/>
            </p:oleObj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1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 err="1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5613662" y="6155703"/>
            <a:ext cx="3520912" cy="63159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>
                <a:solidFill>
                  <a:srgbClr val="00206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Синдром дефицита внимания и </a:t>
            </a:r>
            <a:r>
              <a:rPr lang="ru-RU" sz="2800" dirty="0" err="1" smtClean="0">
                <a:solidFill>
                  <a:srgbClr val="00206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гиперактивность</a:t>
            </a:r>
            <a:r>
              <a:rPr lang="ru-RU" sz="2800" dirty="0" smtClean="0">
                <a:solidFill>
                  <a:srgbClr val="00206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. </a:t>
            </a:r>
            <a:br>
              <a:rPr lang="ru-RU" sz="2800" dirty="0" smtClean="0">
                <a:solidFill>
                  <a:srgbClr val="00206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</a:br>
            <a:r>
              <a:rPr lang="ru-RU" sz="2800" dirty="0" smtClean="0">
                <a:solidFill>
                  <a:srgbClr val="00206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Миф или реальность?</a:t>
            </a:r>
            <a:endParaRPr lang="ru-RU" sz="2800" dirty="0">
              <a:solidFill>
                <a:srgbClr val="002060"/>
              </a:solidFill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06582" y="2281296"/>
            <a:ext cx="3206840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1">
                  <a:lumMod val="75000"/>
                </a:schemeClr>
              </a:buClr>
              <a:buSzPct val="72000"/>
              <a:tabLst>
                <a:tab pos="457200" algn="l"/>
              </a:tabLst>
            </a:pPr>
            <a:r>
              <a:rPr lang="ru-RU" sz="2000" b="1" i="1" dirty="0" smtClean="0">
                <a:solidFill>
                  <a:srgbClr val="002060"/>
                </a:solidFill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Часто у нас есть: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Сложности в контроле и самоконтроле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Высокая степень агрессии и </a:t>
            </a:r>
            <a:r>
              <a:rPr lang="ru-RU" dirty="0" err="1" smtClean="0">
                <a:solidFill>
                  <a:schemeClr val="accent1">
                    <a:lumMod val="50000"/>
                  </a:schemeClr>
                </a:solidFill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самоагрессии</a:t>
            </a:r>
            <a:endParaRPr lang="ru-RU" dirty="0" smtClean="0">
              <a:solidFill>
                <a:schemeClr val="accent1">
                  <a:lumMod val="50000"/>
                </a:schemeClr>
              </a:solidFill>
              <a:latin typeface="Cambria" panose="02040503050406030204" pitchFamily="18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Тревожность и низкая самооценка</a:t>
            </a:r>
          </a:p>
          <a:p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2011962" y="4217322"/>
            <a:ext cx="6111481" cy="261610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Clr>
                <a:schemeClr val="accent1">
                  <a:lumMod val="75000"/>
                </a:schemeClr>
              </a:buClr>
              <a:buSzPct val="72000"/>
              <a:tabLst>
                <a:tab pos="457200" algn="l"/>
              </a:tabLst>
            </a:pPr>
            <a:r>
              <a:rPr lang="ru-RU" sz="2000" b="1" i="1" dirty="0">
                <a:solidFill>
                  <a:srgbClr val="002060"/>
                </a:solidFill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Вот, что может нас поддержать: 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Не нужно на нас кричать. </a:t>
            </a:r>
          </a:p>
          <a:p>
            <a:pPr>
              <a:buClr>
                <a:schemeClr val="accent1">
                  <a:lumMod val="75000"/>
                </a:schemeClr>
              </a:buClr>
              <a:buSzPct val="72000"/>
              <a:tabLst>
                <a:tab pos="457200" algn="l"/>
              </a:tabLst>
            </a:pP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Так мы вас не слышим.</a:t>
            </a:r>
            <a:endParaRPr lang="ru-RU" dirty="0">
              <a:solidFill>
                <a:schemeClr val="accent1">
                  <a:lumMod val="50000"/>
                </a:schemeClr>
              </a:solidFill>
              <a:latin typeface="Cambria" panose="02040503050406030204" pitchFamily="18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Нам важно чувствовать себя в безопасности</a:t>
            </a:r>
            <a:endParaRPr lang="ru-RU" dirty="0">
              <a:solidFill>
                <a:schemeClr val="accent1">
                  <a:lumMod val="50000"/>
                </a:schemeClr>
              </a:solidFill>
              <a:latin typeface="Cambria" panose="02040503050406030204" pitchFamily="18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Замечайте наши успехи. Это так важно для нас.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Нам совсем не нравится: кричать, плакать и шуметь. </a:t>
            </a:r>
          </a:p>
          <a:p>
            <a:pPr>
              <a:buClr>
                <a:schemeClr val="accent1">
                  <a:lumMod val="75000"/>
                </a:schemeClr>
              </a:buClr>
              <a:buSzPct val="72000"/>
              <a:tabLst>
                <a:tab pos="457200" algn="l"/>
              </a:tabLst>
            </a:pP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Просто помогите мне успокоиться</a:t>
            </a:r>
            <a:endParaRPr lang="ru-RU" dirty="0">
              <a:solidFill>
                <a:schemeClr val="accent1">
                  <a:lumMod val="50000"/>
                </a:schemeClr>
              </a:solidFill>
              <a:latin typeface="Cambria" panose="02040503050406030204" pitchFamily="18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buClr>
                <a:schemeClr val="accent1">
                  <a:lumMod val="75000"/>
                </a:schemeClr>
              </a:buClr>
              <a:buSzPct val="72000"/>
              <a:tabLst>
                <a:tab pos="457200" algn="l"/>
              </a:tabLst>
            </a:pPr>
            <a:endParaRPr lang="ru-RU" dirty="0">
              <a:solidFill>
                <a:schemeClr val="accent1">
                  <a:lumMod val="50000"/>
                </a:schemeClr>
              </a:solidFill>
              <a:latin typeface="Cambria" panose="02040503050406030204" pitchFamily="18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318480" y="1484179"/>
            <a:ext cx="712727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i="1" dirty="0">
                <a:solidFill>
                  <a:srgbClr val="002060"/>
                </a:solidFill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Дети с </a:t>
            </a:r>
            <a:r>
              <a:rPr lang="ru-RU" sz="2000" b="1" i="1" dirty="0" smtClean="0">
                <a:solidFill>
                  <a:srgbClr val="002060"/>
                </a:solidFill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СДВГ: «Нет</a:t>
            </a:r>
            <a:r>
              <a:rPr lang="ru-RU" sz="2000" b="1" i="1" dirty="0">
                <a:solidFill>
                  <a:srgbClr val="002060"/>
                </a:solidFill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, мы не миф, мы правда существуем»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0" y="1000108"/>
            <a:ext cx="4129078" cy="2857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985449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p:oleObj spid="_x0000_s23554" name="Слайд think-cell" r:id="rId6" imgW="360" imgH="360" progId="">
              <p:embed/>
            </p:oleObj>
          </a:graphicData>
        </a:graphic>
      </p:graphicFrame>
      <p:sp>
        <p:nvSpPr>
          <p:cNvPr id="14" name="Rectangle 1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8" name="Pentagon 5"/>
          <p:cNvSpPr/>
          <p:nvPr/>
        </p:nvSpPr>
        <p:spPr>
          <a:xfrm>
            <a:off x="2507651" y="1533524"/>
            <a:ext cx="5486625" cy="936000"/>
          </a:xfrm>
          <a:prstGeom prst="homePlate">
            <a:avLst>
              <a:gd name="adj" fmla="val 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endParaRPr lang="ru-RU" dirty="0">
              <a:ea typeface="Helios-Cond-Light"/>
              <a:cs typeface="Calibri" panose="020F0502020204030204" pitchFamily="34" charset="0"/>
              <a:sym typeface="Helios-Cond-Light"/>
            </a:endParaRPr>
          </a:p>
        </p:txBody>
      </p:sp>
      <p:sp>
        <p:nvSpPr>
          <p:cNvPr id="20" name="Pentagon 7"/>
          <p:cNvSpPr/>
          <p:nvPr/>
        </p:nvSpPr>
        <p:spPr>
          <a:xfrm>
            <a:off x="3055085" y="2685087"/>
            <a:ext cx="5486625" cy="936000"/>
          </a:xfrm>
          <a:prstGeom prst="homePlate">
            <a:avLst>
              <a:gd name="adj" fmla="val 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endParaRPr lang="ru-RU" dirty="0">
              <a:ea typeface="Helios-Cond-Light"/>
              <a:cs typeface="Calibri" panose="020F0502020204030204" pitchFamily="34" charset="0"/>
              <a:sym typeface="Helios-Cond-Light"/>
            </a:endParaRPr>
          </a:p>
        </p:txBody>
      </p:sp>
      <p:sp>
        <p:nvSpPr>
          <p:cNvPr id="21" name="Pentagon 7"/>
          <p:cNvSpPr/>
          <p:nvPr/>
        </p:nvSpPr>
        <p:spPr>
          <a:xfrm>
            <a:off x="3143240" y="3786190"/>
            <a:ext cx="5486625" cy="936000"/>
          </a:xfrm>
          <a:prstGeom prst="homePlate">
            <a:avLst>
              <a:gd name="adj" fmla="val 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just"/>
            <a:r>
              <a:rPr lang="ru-RU" sz="2800" b="1" dirty="0">
                <a:solidFill>
                  <a:schemeClr val="tx1"/>
                </a:solidFill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  <a:sym typeface="Helios-Cond-Light"/>
              </a:rPr>
              <a:t>Диэнцефальные</a:t>
            </a:r>
          </a:p>
        </p:txBody>
      </p:sp>
      <p:sp>
        <p:nvSpPr>
          <p:cNvPr id="30" name="Овал 12"/>
          <p:cNvSpPr/>
          <p:nvPr/>
        </p:nvSpPr>
        <p:spPr>
          <a:xfrm>
            <a:off x="1534431" y="3935350"/>
            <a:ext cx="730056" cy="973408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2800" dirty="0" err="1">
              <a:solidFill>
                <a:schemeClr val="bg1"/>
              </a:solidFill>
            </a:endParaRPr>
          </a:p>
        </p:txBody>
      </p:sp>
      <p:sp>
        <p:nvSpPr>
          <p:cNvPr id="27" name="Овал 12"/>
          <p:cNvSpPr/>
          <p:nvPr/>
        </p:nvSpPr>
        <p:spPr>
          <a:xfrm>
            <a:off x="1534431" y="2685087"/>
            <a:ext cx="730056" cy="973408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2800" dirty="0" err="1">
              <a:solidFill>
                <a:schemeClr val="bg1"/>
              </a:solidFill>
            </a:endParaRPr>
          </a:p>
        </p:txBody>
      </p:sp>
      <p:sp>
        <p:nvSpPr>
          <p:cNvPr id="36" name="Овал 12"/>
          <p:cNvSpPr/>
          <p:nvPr/>
        </p:nvSpPr>
        <p:spPr>
          <a:xfrm>
            <a:off x="1534431" y="1496116"/>
            <a:ext cx="730056" cy="973408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6000" b="1" dirty="0">
              <a:solidFill>
                <a:srgbClr val="2D3494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498698" y="4252777"/>
            <a:ext cx="80152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i="1" dirty="0">
                <a:ea typeface="Helios-Cond-Light"/>
                <a:cs typeface="Calibri" panose="020F0502020204030204" pitchFamily="34" charset="0"/>
                <a:sym typeface="Helios-Cond-Light"/>
              </a:rPr>
              <a:t>иконка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>
                <a:solidFill>
                  <a:srgbClr val="00206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Варианты развития СДВГ</a:t>
            </a:r>
            <a:endParaRPr lang="ru-RU" sz="2800" dirty="0">
              <a:solidFill>
                <a:srgbClr val="002060"/>
              </a:solidFill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143240" y="1571612"/>
            <a:ext cx="358829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800" b="1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  <a:sym typeface="Helios-Cond-Light"/>
              </a:rPr>
              <a:t>Лобные нарушение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3143240" y="2786058"/>
            <a:ext cx="412965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800" b="1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  <a:sym typeface="Helios-Cond-Light"/>
              </a:rPr>
              <a:t>Стволовые нарушения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5852" y="1500174"/>
            <a:ext cx="1325961" cy="996042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005" y="3720809"/>
            <a:ext cx="1306906" cy="140249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33116"/>
          <a:stretch/>
        </p:blipFill>
        <p:spPr>
          <a:xfrm>
            <a:off x="1246006" y="2529566"/>
            <a:ext cx="1261646" cy="1198224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2515" y="6194738"/>
            <a:ext cx="851507" cy="521594"/>
          </a:xfrm>
          <a:prstGeom prst="rect">
            <a:avLst/>
          </a:prstGeom>
        </p:spPr>
      </p:pic>
      <p:sp>
        <p:nvSpPr>
          <p:cNvPr id="19" name="Прямоугольник 18"/>
          <p:cNvSpPr/>
          <p:nvPr/>
        </p:nvSpPr>
        <p:spPr>
          <a:xfrm>
            <a:off x="0" y="857232"/>
            <a:ext cx="3643306" cy="4286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21"/>
          <p:cNvSpPr/>
          <p:nvPr/>
        </p:nvSpPr>
        <p:spPr>
          <a:xfrm>
            <a:off x="5786446" y="5943600"/>
            <a:ext cx="3357554" cy="9144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112177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3214686"/>
            <a:ext cx="8786842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Clr>
                <a:srgbClr val="00B0F0"/>
              </a:buClr>
              <a:buSzPct val="72000"/>
              <a:buFont typeface="Wingdings" pitchFamily="2" charset="2"/>
              <a:buChar char="Ø"/>
              <a:tabLst>
                <a:tab pos="457200" algn="l"/>
              </a:tabLst>
            </a:pPr>
            <a:r>
              <a:rPr lang="ru-RU" sz="2400" b="1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  <a:sym typeface="Helios-Cond-Light"/>
              </a:rPr>
              <a:t>Синдром Дефицита внимания. </a:t>
            </a:r>
            <a:r>
              <a:rPr lang="ru-RU" sz="2400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  <a:sym typeface="Helios-Cond-Light"/>
              </a:rPr>
              <a:t>Дети с диагнозом </a:t>
            </a:r>
            <a:r>
              <a:rPr lang="ru-RU" sz="2400" b="1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  <a:sym typeface="Helios-Cond-Light"/>
              </a:rPr>
              <a:t>СДВ</a:t>
            </a:r>
            <a:r>
              <a:rPr lang="ru-RU" sz="2400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  <a:sym typeface="Helios-Cond-Light"/>
              </a:rPr>
              <a:t>. легко отвлекаются и имеют трудности с </a:t>
            </a:r>
            <a:r>
              <a:rPr lang="ru-RU" sz="2400" dirty="0" smtClean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  <a:sym typeface="Helios-Cond-Light"/>
              </a:rPr>
              <a:t>концентрацией </a:t>
            </a:r>
            <a:r>
              <a:rPr lang="ru-RU" sz="2400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  <a:sym typeface="Helios-Cond-Light"/>
              </a:rPr>
              <a:t>внимания, но не страдают импульсивностью и </a:t>
            </a:r>
            <a:r>
              <a:rPr lang="ru-RU" sz="2400" dirty="0" err="1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  <a:sym typeface="Helios-Cond-Light"/>
              </a:rPr>
              <a:t>гиперактивностью</a:t>
            </a:r>
            <a:r>
              <a:rPr lang="ru-RU" sz="2400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  <a:sym typeface="Helios-Cond-Light"/>
              </a:rPr>
              <a:t>.</a:t>
            </a:r>
          </a:p>
          <a:p>
            <a:pPr marL="342900" indent="-342900">
              <a:lnSpc>
                <a:spcPct val="150000"/>
              </a:lnSpc>
              <a:buClr>
                <a:srgbClr val="00B0F0"/>
              </a:buClr>
              <a:buSzPct val="72000"/>
              <a:buFont typeface="Wingdings" pitchFamily="2" charset="2"/>
              <a:buChar char="Ø"/>
              <a:tabLst>
                <a:tab pos="457200" algn="l"/>
              </a:tabLst>
            </a:pPr>
            <a:r>
              <a:rPr lang="ru-RU" sz="2400" b="1" dirty="0" err="1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  <a:sym typeface="Helios-Cond-Light"/>
              </a:rPr>
              <a:t>Гиперактивно-импульсивный</a:t>
            </a:r>
            <a:r>
              <a:rPr lang="ru-RU" sz="2400" b="1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  <a:sym typeface="Helios-Cond-Light"/>
              </a:rPr>
              <a:t> тип</a:t>
            </a:r>
            <a:r>
              <a:rPr lang="ru-RU" sz="2400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  <a:sym typeface="Helios-Cond-Light"/>
              </a:rPr>
              <a:t>. </a:t>
            </a:r>
          </a:p>
          <a:p>
            <a:pPr marL="342900" indent="-342900">
              <a:lnSpc>
                <a:spcPct val="150000"/>
              </a:lnSpc>
              <a:buClr>
                <a:srgbClr val="00B0F0"/>
              </a:buClr>
              <a:buSzPct val="72000"/>
              <a:buFont typeface="Wingdings" pitchFamily="2" charset="2"/>
              <a:buChar char="Ø"/>
              <a:tabLst>
                <a:tab pos="457200" algn="l"/>
              </a:tabLst>
            </a:pPr>
            <a:r>
              <a:rPr lang="ru-RU" sz="2400" b="1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  <a:sym typeface="Helios-Cond-Light"/>
              </a:rPr>
              <a:t>СДВГ</a:t>
            </a:r>
            <a:r>
              <a:rPr lang="ru-RU" sz="2400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  <a:sym typeface="Helios-Cond-Light"/>
              </a:rPr>
              <a:t> – смешанный тип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286116" y="214290"/>
            <a:ext cx="39290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00206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Варианты СДВГ</a:t>
            </a:r>
          </a:p>
        </p:txBody>
      </p:sp>
      <p:pic>
        <p:nvPicPr>
          <p:cNvPr id="4" name="Рисунок 3" descr="5db1a2f57a26d801953190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71670" y="642918"/>
            <a:ext cx="5000628" cy="265734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334961" y="96489"/>
            <a:ext cx="4406021" cy="1008112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>
                <a:solidFill>
                  <a:schemeClr val="accent1">
                    <a:lumMod val="75000"/>
                  </a:schemeClr>
                </a:solidFill>
              </a:rPr>
              <a:t>СДВГ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574322" y="1318755"/>
            <a:ext cx="1944216" cy="914400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Условия среды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5659577" y="3433723"/>
            <a:ext cx="1773705" cy="595165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accent1">
                    <a:lumMod val="50000"/>
                  </a:schemeClr>
                </a:solidFill>
              </a:rPr>
              <a:t>Наличие уголка двигательной активности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659577" y="4970411"/>
            <a:ext cx="1772538" cy="578406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>
                <a:solidFill>
                  <a:schemeClr val="accent1">
                    <a:lumMod val="50000"/>
                  </a:schemeClr>
                </a:solidFill>
              </a:rPr>
              <a:t>Порядок, стабильность, но с изменениями под ребенка</a:t>
            </a:r>
            <a:endParaRPr lang="ru-RU" sz="12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5660744" y="4271145"/>
            <a:ext cx="1772538" cy="484029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200" dirty="0">
                <a:solidFill>
                  <a:schemeClr val="accent1">
                    <a:lumMod val="50000"/>
                  </a:schemeClr>
                </a:solidFill>
              </a:rPr>
              <a:t>Успокаивающие </a:t>
            </a:r>
            <a:r>
              <a:rPr lang="ru-RU" sz="1200">
                <a:solidFill>
                  <a:schemeClr val="accent1">
                    <a:lumMod val="50000"/>
                  </a:schemeClr>
                </a:solidFill>
              </a:rPr>
              <a:t>матеиалы</a:t>
            </a:r>
            <a:endParaRPr lang="ru-RU" sz="12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5659577" y="2533975"/>
            <a:ext cx="1773705" cy="613580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200" dirty="0">
                <a:solidFill>
                  <a:schemeClr val="accent1">
                    <a:lumMod val="50000"/>
                  </a:schemeClr>
                </a:solidFill>
              </a:rPr>
              <a:t>Уголок уединения</a:t>
            </a:r>
          </a:p>
        </p:txBody>
      </p:sp>
      <p:grpSp>
        <p:nvGrpSpPr>
          <p:cNvPr id="4" name="Группа 7"/>
          <p:cNvGrpSpPr/>
          <p:nvPr/>
        </p:nvGrpSpPr>
        <p:grpSpPr>
          <a:xfrm>
            <a:off x="1000100" y="2285992"/>
            <a:ext cx="1828169" cy="4323372"/>
            <a:chOff x="1003447" y="2218061"/>
            <a:chExt cx="2437558" cy="4323372"/>
          </a:xfrm>
          <a:solidFill>
            <a:schemeClr val="bg1"/>
          </a:solidFill>
        </p:grpSpPr>
        <p:sp>
          <p:nvSpPr>
            <p:cNvPr id="5" name="Скругленный прямоугольник 4"/>
            <p:cNvSpPr/>
            <p:nvPr/>
          </p:nvSpPr>
          <p:spPr>
            <a:xfrm>
              <a:off x="1003447" y="2218061"/>
              <a:ext cx="2412905" cy="1214446"/>
            </a:xfrm>
            <a:prstGeom prst="rect">
              <a:avLst/>
            </a:prstGeom>
            <a:grpFill/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r>
                <a:rPr lang="ru-RU" sz="1200" dirty="0">
                  <a:solidFill>
                    <a:schemeClr val="accent1">
                      <a:lumMod val="50000"/>
                    </a:schemeClr>
                  </a:solidFill>
                </a:rPr>
                <a:t>Очень чувствительны к громким звукам, яркому свету, незнакомым людям, смене обстановки. Эти факторы вызывают у них громкий плач</a:t>
              </a:r>
            </a:p>
          </p:txBody>
        </p:sp>
        <p:sp>
          <p:nvSpPr>
            <p:cNvPr id="6" name="Скругленный прямоугольник 5"/>
            <p:cNvSpPr/>
            <p:nvPr/>
          </p:nvSpPr>
          <p:spPr>
            <a:xfrm>
              <a:off x="1112096" y="3522795"/>
              <a:ext cx="2304256" cy="561955"/>
            </a:xfrm>
            <a:prstGeom prst="rect">
              <a:avLst/>
            </a:prstGeom>
            <a:grpFill/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11" name="Скругленный прямоугольник 10"/>
            <p:cNvSpPr/>
            <p:nvPr/>
          </p:nvSpPr>
          <p:spPr>
            <a:xfrm>
              <a:off x="1136749" y="4991704"/>
              <a:ext cx="2304256" cy="749430"/>
            </a:xfrm>
            <a:prstGeom prst="rect">
              <a:avLst/>
            </a:prstGeom>
            <a:grpFill/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dirty="0">
                <a:solidFill>
                  <a:schemeClr val="accent1">
                    <a:lumMod val="50000"/>
                  </a:schemeClr>
                </a:solidFill>
              </a:endParaRPr>
            </a:p>
            <a:p>
              <a:pPr algn="ctr"/>
              <a:r>
                <a:rPr lang="ru-RU" sz="1400" dirty="0">
                  <a:solidFill>
                    <a:schemeClr val="accent1">
                      <a:lumMod val="50000"/>
                    </a:schemeClr>
                  </a:solidFill>
                </a:rPr>
                <a:t>Быстро забывают/или не запоминают информацию.</a:t>
              </a:r>
            </a:p>
            <a:p>
              <a:pPr algn="ctr"/>
              <a:endParaRPr lang="ru-RU" sz="1400" dirty="0">
                <a:solidFill>
                  <a:schemeClr val="accent1">
                    <a:lumMod val="50000"/>
                  </a:schemeClr>
                </a:solidFill>
              </a:endParaRPr>
            </a:p>
            <a:p>
              <a:pPr algn="ctr"/>
              <a:endParaRPr lang="ru-RU" sz="1400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12" name="Скругленный прямоугольник 11"/>
            <p:cNvSpPr/>
            <p:nvPr/>
          </p:nvSpPr>
          <p:spPr>
            <a:xfrm>
              <a:off x="1112096" y="4193677"/>
              <a:ext cx="2304256" cy="576064"/>
            </a:xfrm>
            <a:prstGeom prst="rect">
              <a:avLst/>
            </a:prstGeom>
            <a:grpFill/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18" name="Скругленный прямоугольник 17"/>
            <p:cNvSpPr/>
            <p:nvPr/>
          </p:nvSpPr>
          <p:spPr>
            <a:xfrm>
              <a:off x="1112096" y="5847047"/>
              <a:ext cx="2304256" cy="694386"/>
            </a:xfrm>
            <a:prstGeom prst="rect">
              <a:avLst/>
            </a:prstGeom>
            <a:grpFill/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solidFill>
                    <a:schemeClr val="accent1">
                      <a:lumMod val="50000"/>
                    </a:schemeClr>
                  </a:solidFill>
                </a:rPr>
                <a:t>Испытывают проблемы с засыпанием, спят меньше нормы</a:t>
              </a:r>
            </a:p>
          </p:txBody>
        </p:sp>
      </p:grpSp>
      <p:sp>
        <p:nvSpPr>
          <p:cNvPr id="21" name="Прямоугольник 20"/>
          <p:cNvSpPr/>
          <p:nvPr/>
        </p:nvSpPr>
        <p:spPr>
          <a:xfrm>
            <a:off x="992065" y="1326560"/>
            <a:ext cx="1836204" cy="917321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Психолого-педагогические характеристики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5659577" y="5691287"/>
            <a:ext cx="1772538" cy="554177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accent1">
                    <a:lumMod val="50000"/>
                  </a:schemeClr>
                </a:solidFill>
              </a:rPr>
              <a:t>Безопасность (нет острых, бьющихся тяжелых предметов);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5658410" y="6417572"/>
            <a:ext cx="1773705" cy="383582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200" dirty="0">
                <a:solidFill>
                  <a:schemeClr val="accent1">
                    <a:lumMod val="50000"/>
                  </a:schemeClr>
                </a:solidFill>
              </a:rPr>
              <a:t>Сенсорная интеграция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353875" y="3722533"/>
            <a:ext cx="1421928" cy="30777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none">
            <a:spAutoFit/>
          </a:bodyPr>
          <a:lstStyle/>
          <a:p>
            <a:r>
              <a:rPr lang="ru-RU" sz="1400" dirty="0">
                <a:solidFill>
                  <a:schemeClr val="accent1">
                    <a:lumMod val="50000"/>
                  </a:schemeClr>
                </a:solidFill>
              </a:rPr>
              <a:t>Невнимательны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342295" y="4395751"/>
            <a:ext cx="1514325" cy="30777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none">
            <a:spAutoFit/>
          </a:bodyPr>
          <a:lstStyle/>
          <a:p>
            <a:r>
              <a:rPr lang="ru-RU" sz="1400" dirty="0">
                <a:solidFill>
                  <a:schemeClr val="accent1">
                    <a:lumMod val="50000"/>
                  </a:schemeClr>
                </a:solidFill>
              </a:rPr>
              <a:t>Много двигаются</a:t>
            </a:r>
          </a:p>
        </p:txBody>
      </p:sp>
    </p:spTree>
    <p:extLst>
      <p:ext uri="{BB962C8B-B14F-4D97-AF65-F5344CB8AC3E}">
        <p14:creationId xmlns:p14="http://schemas.microsoft.com/office/powerpoint/2010/main" xmlns="" val="563996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5715008" y="6143644"/>
            <a:ext cx="3214710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0" y="714356"/>
            <a:ext cx="3214710" cy="3571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6">
            <a:lum bright="45000" contrast="4000"/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093" t="2838" r="-2942" b="26435"/>
          <a:stretch>
            <a:fillRect/>
          </a:stretch>
        </p:blipFill>
        <p:spPr>
          <a:xfrm>
            <a:off x="714348" y="0"/>
            <a:ext cx="8143932" cy="6286544"/>
          </a:xfrm>
          <a:prstGeom prst="rect">
            <a:avLst/>
          </a:prstGeom>
        </p:spPr>
      </p:pic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p:oleObj spid="_x0000_s22530" name="Слайд think-cell" r:id="rId7" imgW="360" imgH="360" progId="">
              <p:embed/>
            </p:oleObj>
          </a:graphicData>
        </a:graphic>
      </p:graphicFrame>
      <p:sp>
        <p:nvSpPr>
          <p:cNvPr id="14" name="Rectangle 1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>
                <a:solidFill>
                  <a:srgbClr val="00206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Как помочь ребенку в саду и школе</a:t>
            </a:r>
            <a:br>
              <a:rPr lang="ru-RU" sz="2800" dirty="0">
                <a:solidFill>
                  <a:srgbClr val="00206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642910" y="785794"/>
            <a:ext cx="7671460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Ребенок должен иметь возможность легально сбрасывать лишнюю энергию</a:t>
            </a:r>
          </a:p>
          <a:p>
            <a:pPr marL="342900" indent="-342900"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Правил в группе не должно быть слишком много, но они должны четко соблюдаться. </a:t>
            </a:r>
          </a:p>
          <a:p>
            <a:pPr marL="342900" indent="-342900"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Для помощи в концентрации внимания нужно использовать различные упражнения на самоконтроль</a:t>
            </a:r>
          </a:p>
          <a:p>
            <a:pPr marL="342900" indent="-342900"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Важно визуально подкреплять свою речь при обучении ребенка</a:t>
            </a:r>
          </a:p>
          <a:p>
            <a:pPr marL="342900" indent="-342900"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На определенный отрезок времени необходимо давать только одно задание ребенку</a:t>
            </a:r>
          </a:p>
          <a:p>
            <a:pPr marL="342900" indent="-342900"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Дети с СДВГ очень хорошо реагируют на  успокаивающей массаж, который можно делать, не обладая специальным образованием. </a:t>
            </a:r>
          </a:p>
          <a:p>
            <a:pPr marL="342900" indent="-342900"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Необходимо поддерживать любые, даже самые незначительные успехи ребенка</a:t>
            </a:r>
          </a:p>
          <a:p>
            <a:pPr marL="342900" indent="-342900"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Давать короткие, четкие и конкретные инструкции</a:t>
            </a:r>
          </a:p>
        </p:txBody>
      </p:sp>
    </p:spTree>
    <p:extLst>
      <p:ext uri="{BB962C8B-B14F-4D97-AF65-F5344CB8AC3E}">
        <p14:creationId xmlns="" xmlns:p14="http://schemas.microsoft.com/office/powerpoint/2010/main" val="1780938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857224" y="1571612"/>
            <a:ext cx="7786742" cy="43858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 smtClean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Четкий </a:t>
            </a:r>
            <a:r>
              <a:rPr lang="ru-RU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план и повторяющийся распорядок</a:t>
            </a:r>
          </a:p>
          <a:p>
            <a:pPr marL="342900" indent="-342900"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Визуализировать правила поведения в позитивной форме</a:t>
            </a:r>
          </a:p>
          <a:p>
            <a:pPr marL="342900" indent="-342900"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Работа в группе, распределение ролей</a:t>
            </a:r>
          </a:p>
          <a:p>
            <a:pPr marL="342900" indent="-342900"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Наглядные средства обучения</a:t>
            </a:r>
          </a:p>
          <a:p>
            <a:pPr marL="342900" indent="-342900"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Максимальное вовлечение ( помощь педагогу)</a:t>
            </a:r>
          </a:p>
          <a:p>
            <a:pPr marL="342900" indent="-342900"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Центральное место в классе</a:t>
            </a:r>
          </a:p>
          <a:p>
            <a:pPr marL="342900" indent="-342900"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Вовлекать в активную деятельность при признаках возбуждения</a:t>
            </a:r>
          </a:p>
          <a:p>
            <a:pPr marL="342900" indent="-342900"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Фиксировать отрезок времени для работы. На один отрезок времени -1 задание.</a:t>
            </a:r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2143108" y="285728"/>
            <a:ext cx="5429500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rgbClr val="00206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Организация учебного процесса</a:t>
            </a:r>
          </a:p>
          <a:p>
            <a:endParaRPr lang="ru-RU" sz="2800" b="1" dirty="0">
              <a:solidFill>
                <a:srgbClr val="002060"/>
              </a:solidFill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 descr="1660134687_1-beolin-club-p-giperaktivnii-rebenok-risunok-krasivo-1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786314" y="1500174"/>
            <a:ext cx="4357686" cy="4357686"/>
          </a:xfrm>
          <a:prstGeom prst="teardrop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5715008" y="6143644"/>
            <a:ext cx="3214710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0" y="714356"/>
            <a:ext cx="3214710" cy="3571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p:oleObj spid="_x0000_s25602" name="Слайд think-cell" r:id="rId7" imgW="360" imgH="360" progId="">
              <p:embed/>
            </p:oleObj>
          </a:graphicData>
        </a:graphic>
      </p:graphicFrame>
      <p:sp>
        <p:nvSpPr>
          <p:cNvPr id="14" name="Rectangle 1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>
                <a:solidFill>
                  <a:srgbClr val="00206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Как помочь ребенку в саду и школе</a:t>
            </a:r>
            <a:br>
              <a:rPr lang="ru-RU" sz="2800" dirty="0">
                <a:solidFill>
                  <a:srgbClr val="00206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686754" y="1121980"/>
            <a:ext cx="4956816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Ребенок должен иметь возможность легально сбрасывать лишнюю энергию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Правил в группе не должно быть слишком много, но они должны четко соблюдаться. 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Для помощи в концентрации внимания нужно использовать различные упражнения на самоконтроль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Важно визуально подкреплять свою речь при обучении ребенка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На определенный отрезок времени необходимо давать только одно задание ребенку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Дети с СДВГ очень хорошо реагируют на  успокаивающей массаж, который можно делать, не обладая специальным образованием. 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Необходимо поддерживать любые, даже самые незначительные успехи ребенка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Давать короткие, четкие и конкретные инструкции</a:t>
            </a:r>
          </a:p>
        </p:txBody>
      </p:sp>
    </p:spTree>
    <p:extLst>
      <p:ext uri="{BB962C8B-B14F-4D97-AF65-F5344CB8AC3E}">
        <p14:creationId xmlns="" xmlns:p14="http://schemas.microsoft.com/office/powerpoint/2010/main" val="1780938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9235" y="2491785"/>
            <a:ext cx="3744765" cy="3744764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p:oleObj spid="_x0000_s24578" name="Слайд think-cell" r:id="rId7" imgW="360" imgH="360" progId="">
              <p:embed/>
            </p:oleObj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1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 err="1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5613662" y="6155703"/>
            <a:ext cx="3520912" cy="63159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18" name="Равнобедренный треугольник 17"/>
          <p:cNvSpPr/>
          <p:nvPr/>
        </p:nvSpPr>
        <p:spPr>
          <a:xfrm>
            <a:off x="4786419" y="-386499"/>
            <a:ext cx="1654486" cy="6858000"/>
          </a:xfrm>
          <a:prstGeom prst="triangle">
            <a:avLst>
              <a:gd name="adj" fmla="val 3139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>
                <a:solidFill>
                  <a:srgbClr val="00206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Помощники в обучении</a:t>
            </a:r>
            <a:endParaRPr lang="ru-RU" sz="2800" dirty="0">
              <a:solidFill>
                <a:srgbClr val="002060"/>
              </a:solidFill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82464" y="1337624"/>
            <a:ext cx="320684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1">
                  <a:lumMod val="75000"/>
                </a:schemeClr>
              </a:buClr>
              <a:buSzPct val="72000"/>
              <a:tabLst>
                <a:tab pos="457200" algn="l"/>
              </a:tabLst>
            </a:pPr>
            <a:r>
              <a:rPr lang="ru-RU" b="1" dirty="0" smtClean="0">
                <a:solidFill>
                  <a:srgbClr val="002060"/>
                </a:solidFill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Чтение</a:t>
            </a:r>
            <a:endParaRPr lang="ru-RU" dirty="0" smtClean="0">
              <a:solidFill>
                <a:schemeClr val="accent1">
                  <a:lumMod val="50000"/>
                </a:schemeClr>
              </a:solidFill>
              <a:latin typeface="Cambria" panose="02040503050406030204" pitchFamily="18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342900" indent="-342900"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Следить пальцем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Делать пометки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Задать темп чтения вслух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Найти шесть вопросов. 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Представить себе это</a:t>
            </a:r>
          </a:p>
          <a:p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382464" y="3847379"/>
            <a:ext cx="320684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1">
                  <a:lumMod val="75000"/>
                </a:schemeClr>
              </a:buClr>
              <a:buSzPct val="72000"/>
              <a:tabLst>
                <a:tab pos="457200" algn="l"/>
              </a:tabLst>
            </a:pPr>
            <a:r>
              <a:rPr lang="ru-RU" b="1" dirty="0" smtClean="0">
                <a:solidFill>
                  <a:srgbClr val="002060"/>
                </a:solidFill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Письмо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Составить схему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Использовать организатор рассказа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Подчеркивать или обводить , то, что значимо</a:t>
            </a:r>
            <a:endParaRPr lang="ru-RU" dirty="0">
              <a:solidFill>
                <a:schemeClr val="accent1">
                  <a:lumMod val="50000"/>
                </a:schemeClr>
              </a:solidFill>
              <a:latin typeface="Cambria" panose="02040503050406030204" pitchFamily="18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3351618" y="1461457"/>
            <a:ext cx="320684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1">
                  <a:lumMod val="75000"/>
                </a:schemeClr>
              </a:buClr>
              <a:buSzPct val="72000"/>
              <a:tabLst>
                <a:tab pos="457200" algn="l"/>
              </a:tabLst>
            </a:pPr>
            <a:r>
              <a:rPr lang="ru-RU" b="1" dirty="0" smtClean="0">
                <a:solidFill>
                  <a:srgbClr val="002060"/>
                </a:solidFill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Математика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Использовать подручные средства.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Нарисовать рисунок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Видеть знак. </a:t>
            </a:r>
          </a:p>
          <a:p>
            <a:pPr marL="342900" indent="-342900">
              <a:buClr>
                <a:schemeClr val="accent1">
                  <a:lumMod val="75000"/>
                </a:schemeClr>
              </a:buClr>
              <a:buSzPct val="72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Cambria" panose="02040503050406030204" pitchFamily="18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Использовать игры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974106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c3tC5vRSCKOI_KW5_q7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c3tC5vRSCKOI_KW5_q7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g6CA43Q1CyHzmef6mT6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g6CA43Q1CyHzmef6mT6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g6CA43Q1CyHzmef6mT6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08</TotalTime>
  <Words>880</Words>
  <Application>Microsoft Office PowerPoint</Application>
  <PresentationFormat>Экран (4:3)</PresentationFormat>
  <Paragraphs>129</Paragraphs>
  <Slides>18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20" baseType="lpstr">
      <vt:lpstr>Тема Office</vt:lpstr>
      <vt:lpstr>Слайд think-cell</vt:lpstr>
      <vt:lpstr>Слайд 1</vt:lpstr>
      <vt:lpstr>Синдром дефицита внимания и гиперактивность.  Миф или реальность?</vt:lpstr>
      <vt:lpstr>Варианты развития СДВГ</vt:lpstr>
      <vt:lpstr>Слайд 4</vt:lpstr>
      <vt:lpstr>Слайд 5</vt:lpstr>
      <vt:lpstr>Как помочь ребенку в саду и школе   </vt:lpstr>
      <vt:lpstr>Слайд 7</vt:lpstr>
      <vt:lpstr>Как помочь ребенку в саду и школе   </vt:lpstr>
      <vt:lpstr>Помощники в обучении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Пользователь</dc:creator>
  <cp:lastModifiedBy>Пользователь</cp:lastModifiedBy>
  <cp:revision>2</cp:revision>
  <dcterms:created xsi:type="dcterms:W3CDTF">2023-02-07T17:42:28Z</dcterms:created>
  <dcterms:modified xsi:type="dcterms:W3CDTF">2023-02-08T08:20:25Z</dcterms:modified>
</cp:coreProperties>
</file>